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0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83" d="100"/>
          <a:sy n="83" d="100"/>
        </p:scale>
        <p:origin x="40" y="-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1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201" indent="0" algn="ctr">
              <a:buNone/>
              <a:defRPr sz="2400"/>
            </a:lvl3pPr>
            <a:lvl4pPr marL="1828800" indent="0" algn="ctr">
              <a:buNone/>
              <a:defRPr sz="2133"/>
            </a:lvl4pPr>
            <a:lvl5pPr marL="2438399" indent="0" algn="ctr">
              <a:buNone/>
              <a:defRPr sz="2133"/>
            </a:lvl5pPr>
            <a:lvl6pPr marL="3048000" indent="0" algn="ctr">
              <a:buNone/>
              <a:defRPr sz="2133"/>
            </a:lvl6pPr>
            <a:lvl7pPr marL="3657600" indent="0" algn="ctr">
              <a:buNone/>
              <a:defRPr sz="2133"/>
            </a:lvl7pPr>
            <a:lvl8pPr marL="4267200" indent="0" algn="ctr">
              <a:buNone/>
              <a:defRPr sz="2133"/>
            </a:lvl8pPr>
            <a:lvl9pPr marL="4876800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50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1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22882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600" indent="-60960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78347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9984610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86186997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95051108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9576324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7172800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0854063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097005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9143169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4769518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069231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600" indent="-60960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95779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568449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2170081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489859" y="4032069"/>
            <a:ext cx="392538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600" dirty="0">
                <a:solidFill>
                  <a:schemeClr val="bg1"/>
                </a:solidFill>
                <a:latin typeface="Tw Cen MT" panose="020B0602020104020603" pitchFamily="34" charset="0"/>
              </a:rPr>
              <a:t>01</a:t>
            </a:r>
            <a:endParaRPr lang="en-IN" sz="6600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666051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812926"/>
            <a:ext cx="11220417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13481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7454364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Key Mess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here to enter Slide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31693" y="792000"/>
            <a:ext cx="11121231" cy="1080000"/>
          </a:xfrm>
          <a:noFill/>
        </p:spPr>
        <p:txBody>
          <a:bodyPr anchor="t"/>
          <a:lstStyle>
            <a:lvl1pPr mar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lang="de-DE" sz="1846" b="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marL="0" lv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US" dirty="0"/>
              <a:t>Click here to enter Key Message</a:t>
            </a:r>
          </a:p>
        </p:txBody>
      </p:sp>
    </p:spTree>
    <p:extLst>
      <p:ext uri="{BB962C8B-B14F-4D97-AF65-F5344CB8AC3E}">
        <p14:creationId xmlns:p14="http://schemas.microsoft.com/office/powerpoint/2010/main" val="72796088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Key Mess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here to enter Slide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31693" y="792000"/>
            <a:ext cx="11121231" cy="1080000"/>
          </a:xfrm>
          <a:noFill/>
        </p:spPr>
        <p:txBody>
          <a:bodyPr anchor="t"/>
          <a:lstStyle>
            <a:lvl1pPr mar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lang="de-DE" sz="1846" b="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marL="0" lv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US" dirty="0"/>
              <a:t>Click here to enter Key Messag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31693" y="2016000"/>
            <a:ext cx="11121231" cy="4320000"/>
          </a:xfrm>
        </p:spPr>
        <p:txBody>
          <a:bodyPr/>
          <a:lstStyle>
            <a:lvl1pPr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 noProof="0" dirty="0"/>
              <a:t>Click here to enter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812676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812925"/>
            <a:ext cx="11184000" cy="434599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200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800" smtClean="0">
                <a:solidFill>
                  <a:srgbClr val="FFFFFF"/>
                </a:solidFill>
                <a:effectLst/>
              </a:defRPr>
            </a:lvl1pPr>
          </a:lstStyle>
          <a:p>
            <a:r>
              <a:rPr lang="en-GB" dirty="0"/>
              <a:t>© 2016. For information, contact Deloitte Touche Tohmatsu Limited. </a:t>
            </a:r>
          </a:p>
        </p:txBody>
      </p:sp>
    </p:spTree>
    <p:extLst>
      <p:ext uri="{BB962C8B-B14F-4D97-AF65-F5344CB8AC3E}">
        <p14:creationId xmlns:p14="http://schemas.microsoft.com/office/powerpoint/2010/main" val="3670197507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1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32" tIns="47966" rIns="95932" bIns="47966" rtlCol="0" anchor="ctr"/>
          <a:lstStyle/>
          <a:p>
            <a:pPr algn="ctr" defTabSz="914030"/>
            <a:endParaRPr lang="en-GB" sz="2200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1828800"/>
            <a:ext cx="5507267" cy="4451121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/>
              <a:defRPr sz="11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100" b="0">
                <a:solidFill>
                  <a:schemeClr val="tx2"/>
                </a:solidFill>
              </a:defRPr>
            </a:lvl3pPr>
            <a:lvl4pPr marL="141583" indent="-141583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100"/>
            </a:lvl4pPr>
            <a:lvl5pPr marL="330360" indent="-18226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5" y="332059"/>
            <a:ext cx="5507267" cy="10861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083445" y="1"/>
            <a:ext cx="6000748" cy="6858000"/>
          </a:xfrm>
        </p:spPr>
        <p:txBody>
          <a:bodyPr/>
          <a:lstStyle>
            <a:lvl1pPr>
              <a:defRPr sz="11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800" smtClean="0">
                <a:effectLst/>
              </a:defRPr>
            </a:lvl1pPr>
          </a:lstStyle>
          <a:p>
            <a:r>
              <a:rPr lang="en-GB" dirty="0">
                <a:solidFill>
                  <a:prstClr val="black"/>
                </a:solidFill>
              </a:rPr>
              <a:t>© 2016. For information, contact Deloitte Touche Tohmatsu Limited. </a:t>
            </a:r>
          </a:p>
        </p:txBody>
      </p:sp>
      <p:sp>
        <p:nvSpPr>
          <p:cNvPr id="1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tx2"/>
                </a:solidFill>
              </a:defRPr>
            </a:lvl1pPr>
          </a:lstStyle>
          <a:p>
            <a:fld id="{95CC1D26-A9BD-4BDE-BDD9-08EDBAE96860}" type="slidenum">
              <a:rPr lang="en-GB" smtClean="0">
                <a:solidFill>
                  <a:srgbClr val="53565A"/>
                </a:solidFill>
              </a:rPr>
              <a:pPr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645370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4" y="1597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4" y="1597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1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1" y="782623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  <a:latin typeface="Open Sans"/>
                <a:cs typeface="Open Sans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487681" y="1611318"/>
            <a:ext cx="5486400" cy="4735487"/>
          </a:xfrm>
        </p:spPr>
        <p:txBody>
          <a:bodyPr/>
          <a:lstStyle>
            <a:lvl1pPr>
              <a:defRPr b="0" i="0">
                <a:latin typeface="Open Sans Light"/>
                <a:cs typeface="Open Sans Light"/>
              </a:defRPr>
            </a:lvl1pPr>
            <a:lvl2pPr>
              <a:defRPr b="0" i="0">
                <a:latin typeface="Open Sans Light"/>
                <a:cs typeface="Open Sans Light"/>
              </a:defRPr>
            </a:lvl2pPr>
            <a:lvl3pPr>
              <a:defRPr b="0" i="0">
                <a:latin typeface="Open Sans Light"/>
                <a:cs typeface="Open Sans Light"/>
              </a:defRPr>
            </a:lvl3pPr>
            <a:lvl4pPr>
              <a:defRPr b="0" i="0">
                <a:latin typeface="Open Sans Light"/>
                <a:cs typeface="Open Sans Light"/>
              </a:defRPr>
            </a:lvl4pPr>
            <a:lvl5pPr>
              <a:defRPr b="0" i="0" baseline="0">
                <a:latin typeface="Open Sans Light"/>
                <a:cs typeface="Open Sans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17920" y="1611318"/>
            <a:ext cx="5486400" cy="4735487"/>
          </a:xfrm>
        </p:spPr>
        <p:txBody>
          <a:bodyPr/>
          <a:lstStyle>
            <a:lvl1pPr>
              <a:defRPr b="0" i="0">
                <a:latin typeface="Open Sans Light"/>
                <a:cs typeface="Open Sans Light"/>
              </a:defRPr>
            </a:lvl1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390306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600" indent="-60960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52527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9561628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514105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701860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5668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 bwMode="gray">
          <a:xfrm>
            <a:off x="482903" y="647227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srgbClr val="8C8C8C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srgbClr val="31313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2657940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 i="1"/>
            </a:lvl3pPr>
            <a:lvl4pPr marL="539750" indent="-273050">
              <a:buFont typeface="Arial" pitchFamily="34" charset="0"/>
              <a:buChar char="−"/>
              <a:defRPr i="0"/>
            </a:lvl4pPr>
            <a:lvl5pPr marL="806450" indent="-2667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7244708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295201"/>
            <a:ext cx="9126791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155616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295201"/>
            <a:ext cx="9126791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55872637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295201"/>
            <a:ext cx="9126791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95942983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812925"/>
            <a:ext cx="11184000" cy="434599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200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5772984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812926"/>
            <a:ext cx="11220417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0231143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1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600" indent="-60960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4563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812926"/>
            <a:ext cx="11220417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76251" y="2787770"/>
            <a:ext cx="11239539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76172071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2572" y="0"/>
            <a:ext cx="9299428" cy="6858000"/>
          </a:xfrm>
          <a:prstGeom prst="rect">
            <a:avLst/>
          </a:prstGeom>
        </p:spPr>
      </p:pic>
      <p:sp>
        <p:nvSpPr>
          <p:cNvPr id="4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0" y="1"/>
            <a:ext cx="2892573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1924690" y="5303703"/>
            <a:ext cx="10267310" cy="925305"/>
          </a:xfrm>
          <a:prstGeom prst="rect">
            <a:avLst/>
          </a:prstGeom>
          <a:solidFill>
            <a:schemeClr val="bg1">
              <a:alpha val="6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 bwMode="gray">
          <a:xfrm>
            <a:off x="714766" y="5025491"/>
            <a:ext cx="1463040" cy="14630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prstClr val="white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426689" y="-1"/>
            <a:ext cx="0" cy="4754880"/>
          </a:xfrm>
          <a:prstGeom prst="line">
            <a:avLst/>
          </a:prstGeom>
          <a:ln w="1905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288906" y="5415355"/>
            <a:ext cx="9231085" cy="702000"/>
          </a:xfrm>
        </p:spPr>
        <p:txBody>
          <a:bodyPr>
            <a:noAutofit/>
          </a:bodyPr>
          <a:lstStyle>
            <a:lvl1pPr marL="0" indent="0">
              <a:buNone/>
              <a:defRPr sz="4000" i="1">
                <a:solidFill>
                  <a:schemeClr val="tx1"/>
                </a:solidFill>
                <a:latin typeface="Tw Cen MT" panose="020B06020201040206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 bwMode="gray">
          <a:xfrm>
            <a:off x="979157" y="5294358"/>
            <a:ext cx="934257" cy="925305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00087" y="5405270"/>
            <a:ext cx="869053" cy="702000"/>
          </a:xfrm>
        </p:spPr>
        <p:txBody>
          <a:bodyPr>
            <a:noAutofit/>
          </a:bodyPr>
          <a:lstStyle>
            <a:lvl1pPr marL="0" indent="0" algn="ctr">
              <a:buNone/>
              <a:defRPr sz="271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</a:t>
            </a:r>
          </a:p>
        </p:txBody>
      </p:sp>
    </p:spTree>
    <p:extLst>
      <p:ext uri="{BB962C8B-B14F-4D97-AF65-F5344CB8AC3E}">
        <p14:creationId xmlns:p14="http://schemas.microsoft.com/office/powerpoint/2010/main" val="2598681332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9118" y="1093316"/>
            <a:ext cx="6505141" cy="849600"/>
          </a:xfrm>
        </p:spPr>
        <p:txBody>
          <a:bodyPr/>
          <a:lstStyle>
            <a:lvl1pPr>
              <a:defRPr sz="271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9118" y="2668126"/>
            <a:ext cx="6505141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9" b="0">
                <a:solidFill>
                  <a:schemeClr val="accent5"/>
                </a:solidFill>
              </a:defRPr>
            </a:lvl1pPr>
            <a:lvl2pPr marL="443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87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1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75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1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6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06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50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30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777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9118" y="1953740"/>
            <a:ext cx="6505141" cy="702000"/>
          </a:xfrm>
        </p:spPr>
        <p:txBody>
          <a:bodyPr>
            <a:noAutofit/>
          </a:bodyPr>
          <a:lstStyle>
            <a:lvl1pPr marL="0" indent="0">
              <a:buNone/>
              <a:defRPr sz="2718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4502083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5668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8306068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295201"/>
            <a:ext cx="9126791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29328" y="6533565"/>
            <a:ext cx="1056117" cy="252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293"/>
            <a:fld id="{95CC1D26-A9BD-4BDE-BDD9-08EDBAE96860}" type="slidenum">
              <a:rPr lang="en-GB" smtClean="0">
                <a:solidFill>
                  <a:prstClr val="white"/>
                </a:solidFill>
              </a:rPr>
              <a:pPr defTabSz="914293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gray">
          <a:xfrm>
            <a:off x="482903" y="6598008"/>
            <a:ext cx="463296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sz="777" dirty="0">
                <a:solidFill>
                  <a:prstClr val="white"/>
                </a:solidFill>
              </a:rPr>
              <a:t>Copyright © 2016 Deloitte Development LLC. All rights reserved</a:t>
            </a:r>
            <a:r>
              <a:rPr lang="en-US" sz="8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9822495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19643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02915916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7680" y="1611313"/>
            <a:ext cx="1121664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4055210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6817744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680" y="1611313"/>
            <a:ext cx="1121664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83533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6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550" algn="r"/>
              </a:tabLst>
              <a:defRPr/>
            </a:lvl1pPr>
            <a:lvl2pPr>
              <a:tabLst>
                <a:tab pos="8972550" algn="r"/>
              </a:tabLst>
              <a:defRPr/>
            </a:lvl2pPr>
            <a:lvl3pPr>
              <a:tabLst>
                <a:tab pos="8972550" algn="r"/>
              </a:tabLst>
              <a:defRPr/>
            </a:lvl3pPr>
            <a:lvl4pPr>
              <a:tabLst>
                <a:tab pos="8972550" algn="r"/>
              </a:tabLst>
              <a:defRPr/>
            </a:lvl4pPr>
            <a:lvl5pPr>
              <a:tabLst>
                <a:tab pos="6705600" algn="r"/>
              </a:tabLst>
              <a:defRPr baseline="0"/>
            </a:lvl5pPr>
            <a:lvl6pPr>
              <a:tabLst>
                <a:tab pos="8972550" algn="r"/>
              </a:tabLst>
              <a:defRPr/>
            </a:lvl6pPr>
            <a:lvl7pPr>
              <a:tabLst>
                <a:tab pos="8972550" algn="r"/>
              </a:tabLst>
              <a:defRPr/>
            </a:lvl7pPr>
            <a:lvl8pPr>
              <a:tabLst>
                <a:tab pos="8972550" algn="r"/>
              </a:tabLst>
              <a:defRPr/>
            </a:lvl8pPr>
            <a:lvl9pPr>
              <a:tabLst>
                <a:tab pos="8972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3328680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87680" y="295683"/>
            <a:ext cx="719328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87680" y="1611313"/>
            <a:ext cx="719328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749137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54864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54864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87680" y="1611313"/>
            <a:ext cx="54864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230066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87680" y="1611313"/>
            <a:ext cx="54864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913547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1548290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002790975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020857488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00531056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4" y="1818068"/>
            <a:ext cx="3748097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702722434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1" y="319067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032711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1" y="319067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847585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600" algn="r"/>
              </a:tabLst>
              <a:defRPr/>
            </a:lvl1pPr>
            <a:lvl2pPr>
              <a:tabLst>
                <a:tab pos="6705600" algn="r"/>
              </a:tabLst>
              <a:defRPr/>
            </a:lvl2pPr>
            <a:lvl3pPr>
              <a:tabLst>
                <a:tab pos="6705600" algn="r"/>
              </a:tabLst>
              <a:defRPr/>
            </a:lvl3pPr>
            <a:lvl4pPr>
              <a:tabLst>
                <a:tab pos="6705600" algn="r"/>
              </a:tabLst>
              <a:defRPr/>
            </a:lvl4pPr>
            <a:lvl5pPr>
              <a:tabLst>
                <a:tab pos="67056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1524489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1" y="319067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9707962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96" y="3904489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448857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42" y="1397000"/>
            <a:ext cx="6823268" cy="48849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5029200" algn="r"/>
              </a:tabLst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5029200" algn="r"/>
              </a:tabLst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5029200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5029200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5029200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79"/>
            <a:ext cx="11106912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800"/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2451" y="943631"/>
            <a:ext cx="11106912" cy="276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14396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0"/>
            <a:ext cx="11106912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2451" y="943631"/>
            <a:ext cx="11106912" cy="276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200748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11106912" cy="4887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779465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41996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9" descr="DEL_PRI_RGB"/>
          <p:cNvPicPr>
            <a:picLocks noChangeAspect="1" noChangeArrowheads="1"/>
          </p:cNvPicPr>
          <p:nvPr userDrawn="1"/>
        </p:nvPicPr>
        <p:blipFill>
          <a:blip r:embed="rId2" cstate="print"/>
          <a:srcRect l="11237" t="27428" r="9845" b="25551"/>
          <a:stretch>
            <a:fillRect/>
          </a:stretch>
        </p:blipFill>
        <p:spPr bwMode="gray">
          <a:xfrm>
            <a:off x="3793072" y="3032132"/>
            <a:ext cx="4601633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536448" y="5458968"/>
            <a:ext cx="6583680" cy="1152144"/>
          </a:xfrm>
        </p:spPr>
        <p:txBody>
          <a:bodyPr anchor="b" anchorCtr="0">
            <a:noAutofit/>
          </a:bodyPr>
          <a:lstStyle>
            <a:lvl1pPr>
              <a:lnSpc>
                <a:spcPts val="800"/>
              </a:lnSpc>
              <a:spcBef>
                <a:spcPts val="400"/>
              </a:spcBef>
              <a:spcAft>
                <a:spcPts val="400"/>
              </a:spcAft>
              <a:defRPr sz="7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751022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6871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541265" y="502466"/>
            <a:ext cx="11106912" cy="276999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708437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487680" y="1611313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17920" y="1611313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20327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91391353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1" y="1665290"/>
            <a:ext cx="11252201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4869766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Redesigning Performance Management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4034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610988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Redesigning Performance Management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255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9736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795477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no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465766" y="6530790"/>
            <a:ext cx="20962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E7E69083-84D8-4E59-86E6-37E14A15C7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1911" y="333377"/>
            <a:ext cx="11168183" cy="307777"/>
          </a:xfrm>
        </p:spPr>
        <p:txBody>
          <a:bodyPr/>
          <a:lstStyle>
            <a:lvl1pPr>
              <a:defRPr sz="18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11" y="671516"/>
            <a:ext cx="11168183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753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1600" b="1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75381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</p:spTree>
    <p:extLst>
      <p:ext uri="{BB962C8B-B14F-4D97-AF65-F5344CB8AC3E}">
        <p14:creationId xmlns:p14="http://schemas.microsoft.com/office/powerpoint/2010/main" val="11268200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11252201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530719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7" y="1626101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600" algn="r"/>
              </a:tabLst>
              <a:defRPr sz="1801">
                <a:solidFill>
                  <a:schemeClr val="accent1"/>
                </a:solidFill>
              </a:defRPr>
            </a:lvl1pPr>
            <a:lvl2pPr>
              <a:tabLst>
                <a:tab pos="6705600" algn="r"/>
              </a:tabLst>
              <a:defRPr/>
            </a:lvl2pPr>
            <a:lvl3pPr>
              <a:tabLst>
                <a:tab pos="6705600" algn="r"/>
              </a:tabLst>
              <a:defRPr/>
            </a:lvl3pPr>
            <a:lvl4pPr>
              <a:tabLst>
                <a:tab pos="6705600" algn="r"/>
              </a:tabLst>
              <a:defRPr/>
            </a:lvl4pPr>
            <a:lvl5pPr>
              <a:tabLst>
                <a:tab pos="67056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1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600" algn="r"/>
              </a:tabLst>
              <a:defRPr/>
            </a:lvl1pPr>
            <a:lvl2pPr>
              <a:tabLst>
                <a:tab pos="6705600" algn="r"/>
              </a:tabLst>
              <a:defRPr/>
            </a:lvl2pPr>
            <a:lvl3pPr>
              <a:tabLst>
                <a:tab pos="6705600" algn="r"/>
              </a:tabLst>
              <a:defRPr/>
            </a:lvl3pPr>
            <a:lvl4pPr>
              <a:tabLst>
                <a:tab pos="6705600" algn="r"/>
              </a:tabLst>
              <a:defRPr/>
            </a:lvl4pPr>
            <a:lvl5pPr>
              <a:tabLst>
                <a:tab pos="67056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55002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1850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1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201" indent="0" algn="ctr">
              <a:buNone/>
              <a:defRPr sz="2400"/>
            </a:lvl3pPr>
            <a:lvl4pPr marL="1828800" indent="0" algn="ctr">
              <a:buNone/>
              <a:defRPr sz="2133"/>
            </a:lvl4pPr>
            <a:lvl5pPr marL="2438399" indent="0" algn="ctr">
              <a:buNone/>
              <a:defRPr sz="2133"/>
            </a:lvl5pPr>
            <a:lvl6pPr marL="3048000" indent="0" algn="ctr">
              <a:buNone/>
              <a:defRPr sz="2133"/>
            </a:lvl6pPr>
            <a:lvl7pPr marL="3657600" indent="0" algn="ctr">
              <a:buNone/>
              <a:defRPr sz="2133"/>
            </a:lvl7pPr>
            <a:lvl8pPr marL="4267200" indent="0" algn="ctr">
              <a:buNone/>
              <a:defRPr sz="2133"/>
            </a:lvl8pPr>
            <a:lvl9pPr marL="4876800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6" y="6362701"/>
            <a:ext cx="5594350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6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70207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8"/>
            <a:ext cx="11252201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801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648286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2449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144000" y="6400800"/>
            <a:ext cx="2032000" cy="24384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Month 00, 0000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9600" y="6400800"/>
            <a:ext cx="4267200" cy="24384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TIAA INTERNAL USE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176000" y="6400800"/>
            <a:ext cx="406400" cy="24384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DAFD9E3D-ECF5-43BC-99BA-71CEA03628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3876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</p:spPr>
        <p:txBody>
          <a:bodyPr/>
          <a:lstStyle>
            <a:lvl1pPr marL="0" indent="0">
              <a:buNone/>
              <a:defRPr sz="1200"/>
            </a:lvl1pPr>
            <a:lvl2pPr marL="266700" indent="-266700">
              <a:buFont typeface="Arial" pitchFamily="34" charset="0"/>
              <a:buChar char="•"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95128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ef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9922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3406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78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34864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OUT TO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812800"/>
            <a:ext cx="11490325" cy="6811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1200"/>
              </a:spcAft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8775" y="358775"/>
            <a:ext cx="11490325" cy="3779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8775" y="1665818"/>
            <a:ext cx="11490325" cy="47730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7881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639171" y="1196190"/>
            <a:ext cx="4462272" cy="446281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249899" y="206375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603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60960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9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6294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6" y="151312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1" y="151312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250111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3600" b="0" i="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47436982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000F8-2501-4CFB-9BED-58A5DE2E7FC5}" type="datetimeFigureOut">
              <a:rPr lang="en-US" smtClean="0"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FD346B-C89F-4DF8-932A-621EF17037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9459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117601"/>
            <a:ext cx="11165416" cy="526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69421" y="212725"/>
            <a:ext cx="11188700" cy="692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480342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9421" y="212725"/>
            <a:ext cx="11188700" cy="692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64937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orient="horz" pos="381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9976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297069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2270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23642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4599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60960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9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8338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930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1249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811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0438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6871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00020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09178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92613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37441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9089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60960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9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128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058265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333027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150634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158776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7965790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77018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130490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919167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801011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32163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60960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9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2248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472933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787213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609404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676025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625344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620591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75050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9191476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211601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22341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60960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9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6396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2902551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936017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2547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mart -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02605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1760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97207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925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00048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1784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97915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54100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60960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20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9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5768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0032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17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897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74537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733099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9717411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9368510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Redesigning Performance Management</a:t>
            </a:r>
          </a:p>
        </p:txBody>
      </p:sp>
      <p:sp>
        <p:nvSpPr>
          <p:cNvPr id="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18 Deloitte Development LLC. All rights reserved.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19329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4861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8181262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600" indent="-609600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615378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1418468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30883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8990994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802260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271504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0509710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13050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4639141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5208441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72560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image" Target="../media/image1.emf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61" Type="http://schemas.openxmlformats.org/officeDocument/2006/relationships/slideLayout" Target="../slideLayouts/slideLayout161.xml"/><Relationship Id="rId16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51" Type="http://schemas.openxmlformats.org/officeDocument/2006/relationships/slideLayout" Target="../slideLayouts/slideLayout151.xml"/><Relationship Id="rId156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68"/>
            </p:custData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9" imgW="270" imgH="270" progId="TCLayout.ActiveDocument.1">
                  <p:embed/>
                </p:oleObj>
              </mc:Choice>
              <mc:Fallback>
                <p:oleObj name="think-cell Slide" r:id="rId16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0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8"/>
            <a:ext cx="11252201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11252201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1" y="6477002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Deloitte Touche Tohmatsu India LLP 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4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08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  <p:sldLayoutId id="2147483718" r:id="rId45"/>
    <p:sldLayoutId id="2147483719" r:id="rId46"/>
    <p:sldLayoutId id="2147483720" r:id="rId47"/>
    <p:sldLayoutId id="2147483721" r:id="rId48"/>
    <p:sldLayoutId id="2147483722" r:id="rId49"/>
    <p:sldLayoutId id="2147483723" r:id="rId50"/>
    <p:sldLayoutId id="2147483724" r:id="rId51"/>
    <p:sldLayoutId id="2147483725" r:id="rId52"/>
    <p:sldLayoutId id="2147483726" r:id="rId53"/>
    <p:sldLayoutId id="2147483727" r:id="rId54"/>
    <p:sldLayoutId id="2147483728" r:id="rId55"/>
    <p:sldLayoutId id="2147483729" r:id="rId56"/>
    <p:sldLayoutId id="2147483730" r:id="rId57"/>
    <p:sldLayoutId id="2147483731" r:id="rId58"/>
    <p:sldLayoutId id="2147483732" r:id="rId59"/>
    <p:sldLayoutId id="2147483733" r:id="rId60"/>
    <p:sldLayoutId id="2147483734" r:id="rId61"/>
    <p:sldLayoutId id="2147483735" r:id="rId62"/>
    <p:sldLayoutId id="2147483736" r:id="rId63"/>
    <p:sldLayoutId id="2147483737" r:id="rId64"/>
    <p:sldLayoutId id="2147483738" r:id="rId65"/>
    <p:sldLayoutId id="2147483739" r:id="rId66"/>
    <p:sldLayoutId id="2147483740" r:id="rId67"/>
    <p:sldLayoutId id="2147483741" r:id="rId68"/>
    <p:sldLayoutId id="2147483742" r:id="rId69"/>
    <p:sldLayoutId id="2147483743" r:id="rId70"/>
    <p:sldLayoutId id="2147483744" r:id="rId71"/>
    <p:sldLayoutId id="2147483745" r:id="rId72"/>
    <p:sldLayoutId id="2147483746" r:id="rId73"/>
    <p:sldLayoutId id="2147483747" r:id="rId74"/>
    <p:sldLayoutId id="2147483748" r:id="rId75"/>
    <p:sldLayoutId id="2147483749" r:id="rId76"/>
    <p:sldLayoutId id="2147483750" r:id="rId77"/>
    <p:sldLayoutId id="2147483751" r:id="rId78"/>
    <p:sldLayoutId id="2147483752" r:id="rId79"/>
    <p:sldLayoutId id="2147483753" r:id="rId80"/>
    <p:sldLayoutId id="2147483754" r:id="rId81"/>
    <p:sldLayoutId id="2147483755" r:id="rId82"/>
    <p:sldLayoutId id="2147483756" r:id="rId83"/>
    <p:sldLayoutId id="2147483757" r:id="rId84"/>
    <p:sldLayoutId id="2147483758" r:id="rId85"/>
    <p:sldLayoutId id="2147483759" r:id="rId86"/>
    <p:sldLayoutId id="2147483760" r:id="rId87"/>
    <p:sldLayoutId id="2147483761" r:id="rId88"/>
    <p:sldLayoutId id="2147483762" r:id="rId89"/>
    <p:sldLayoutId id="2147483763" r:id="rId90"/>
    <p:sldLayoutId id="2147483764" r:id="rId91"/>
    <p:sldLayoutId id="2147483765" r:id="rId92"/>
    <p:sldLayoutId id="2147483766" r:id="rId93"/>
    <p:sldLayoutId id="2147483767" r:id="rId94"/>
    <p:sldLayoutId id="2147483768" r:id="rId95"/>
    <p:sldLayoutId id="2147483769" r:id="rId96"/>
    <p:sldLayoutId id="2147483770" r:id="rId97"/>
    <p:sldLayoutId id="2147483771" r:id="rId98"/>
    <p:sldLayoutId id="2147483772" r:id="rId99"/>
    <p:sldLayoutId id="2147483773" r:id="rId100"/>
    <p:sldLayoutId id="2147483774" r:id="rId101"/>
    <p:sldLayoutId id="2147483775" r:id="rId102"/>
    <p:sldLayoutId id="2147483776" r:id="rId103"/>
    <p:sldLayoutId id="2147483777" r:id="rId104"/>
    <p:sldLayoutId id="2147483778" r:id="rId105"/>
    <p:sldLayoutId id="2147483779" r:id="rId106"/>
    <p:sldLayoutId id="2147483780" r:id="rId107"/>
    <p:sldLayoutId id="2147483781" r:id="rId108"/>
    <p:sldLayoutId id="2147483782" r:id="rId109"/>
    <p:sldLayoutId id="2147483783" r:id="rId110"/>
    <p:sldLayoutId id="2147483784" r:id="rId111"/>
    <p:sldLayoutId id="2147483785" r:id="rId112"/>
    <p:sldLayoutId id="2147483786" r:id="rId113"/>
    <p:sldLayoutId id="2147483787" r:id="rId114"/>
    <p:sldLayoutId id="2147483788" r:id="rId115"/>
    <p:sldLayoutId id="2147483789" r:id="rId116"/>
    <p:sldLayoutId id="2147483790" r:id="rId117"/>
    <p:sldLayoutId id="2147483791" r:id="rId118"/>
    <p:sldLayoutId id="2147483792" r:id="rId119"/>
    <p:sldLayoutId id="2147483793" r:id="rId120"/>
    <p:sldLayoutId id="2147483794" r:id="rId121"/>
    <p:sldLayoutId id="2147483795" r:id="rId122"/>
    <p:sldLayoutId id="2147483796" r:id="rId123"/>
    <p:sldLayoutId id="2147483797" r:id="rId124"/>
    <p:sldLayoutId id="2147483798" r:id="rId125"/>
    <p:sldLayoutId id="2147483799" r:id="rId126"/>
    <p:sldLayoutId id="2147483800" r:id="rId127"/>
    <p:sldLayoutId id="2147483801" r:id="rId128"/>
    <p:sldLayoutId id="2147483802" r:id="rId129"/>
    <p:sldLayoutId id="2147483803" r:id="rId130"/>
    <p:sldLayoutId id="2147483804" r:id="rId131"/>
    <p:sldLayoutId id="2147483805" r:id="rId132"/>
    <p:sldLayoutId id="2147483806" r:id="rId133"/>
    <p:sldLayoutId id="2147483807" r:id="rId134"/>
    <p:sldLayoutId id="2147483808" r:id="rId135"/>
    <p:sldLayoutId id="2147483809" r:id="rId136"/>
    <p:sldLayoutId id="2147483810" r:id="rId137"/>
    <p:sldLayoutId id="2147483811" r:id="rId138"/>
    <p:sldLayoutId id="2147483812" r:id="rId139"/>
    <p:sldLayoutId id="2147483813" r:id="rId140"/>
    <p:sldLayoutId id="2147483814" r:id="rId141"/>
    <p:sldLayoutId id="2147483815" r:id="rId142"/>
    <p:sldLayoutId id="2147483816" r:id="rId143"/>
    <p:sldLayoutId id="2147483817" r:id="rId144"/>
    <p:sldLayoutId id="2147483818" r:id="rId145"/>
    <p:sldLayoutId id="2147483819" r:id="rId146"/>
    <p:sldLayoutId id="2147483820" r:id="rId147"/>
    <p:sldLayoutId id="2147483821" r:id="rId148"/>
    <p:sldLayoutId id="2147483822" r:id="rId149"/>
    <p:sldLayoutId id="2147483823" r:id="rId150"/>
    <p:sldLayoutId id="2147483824" r:id="rId151"/>
    <p:sldLayoutId id="2147483825" r:id="rId152"/>
    <p:sldLayoutId id="2147483826" r:id="rId153"/>
    <p:sldLayoutId id="2147483827" r:id="rId154"/>
    <p:sldLayoutId id="2147483828" r:id="rId155"/>
    <p:sldLayoutId id="2147483829" r:id="rId156"/>
    <p:sldLayoutId id="2147483830" r:id="rId157"/>
    <p:sldLayoutId id="2147483831" r:id="rId158"/>
    <p:sldLayoutId id="2147483832" r:id="rId159"/>
    <p:sldLayoutId id="2147483833" r:id="rId160"/>
    <p:sldLayoutId id="2147483834" r:id="rId161"/>
    <p:sldLayoutId id="2147483835" r:id="rId162"/>
    <p:sldLayoutId id="2147483836" r:id="rId163"/>
    <p:sldLayoutId id="2147483837" r:id="rId164"/>
    <p:sldLayoutId id="2147483838" r:id="rId165"/>
    <p:sldLayoutId id="2147483839" r:id="rId166"/>
  </p:sldLayoutIdLst>
  <p:transition>
    <p:fade/>
  </p:transition>
  <p:hf hdr="0" dt="0"/>
  <p:txStyles>
    <p:titleStyle>
      <a:lvl1pPr algn="l" defTabSz="121920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01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201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200" indent="-235200" algn="l" defTabSz="1219201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200" indent="-235200" algn="l" defTabSz="1219201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99" indent="-235200" algn="l" defTabSz="106468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99" indent="-235200" algn="l" defTabSz="1219201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99" indent="-235200" algn="l" defTabSz="1219201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99" indent="-235200" algn="l" defTabSz="1219201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99" indent="-235200" algn="l" defTabSz="1219201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99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7">
          <p15:clr>
            <a:srgbClr val="F26B43"/>
          </p15:clr>
        </p15:guide>
        <p15:guide id="5" pos="7385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7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7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2199781" y="725604"/>
            <a:ext cx="9595980" cy="57226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1207" tIns="91207" rIns="91207" bIns="91207" anchor="t">
            <a:noAutofit/>
          </a:bodyPr>
          <a:lstStyle/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98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240146" y="91319"/>
            <a:ext cx="11226800" cy="33410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="1" dirty="0"/>
              <a:t>Bojanapalli Shashidhar Reddy</a:t>
            </a:r>
            <a:endParaRPr lang="en-IN" b="1" dirty="0"/>
          </a:p>
        </p:txBody>
      </p:sp>
      <p:sp>
        <p:nvSpPr>
          <p:cNvPr id="13" name="Rectangle 12"/>
          <p:cNvSpPr/>
          <p:nvPr/>
        </p:nvSpPr>
        <p:spPr>
          <a:xfrm>
            <a:off x="2199781" y="725604"/>
            <a:ext cx="9396466" cy="5273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US" sz="1050" dirty="0">
                <a:solidFill>
                  <a:prstClr val="black"/>
                </a:solidFill>
              </a:rPr>
              <a:t>Bojanapalli Shashidhar Reddy is a Consultant with Deloitte’s Azure DevOps Engineer. I am </a:t>
            </a:r>
            <a:r>
              <a:rPr lang="en-IN" sz="1050" dirty="0">
                <a:solidFill>
                  <a:prstClr val="black"/>
                </a:solidFill>
              </a:rPr>
              <a:t>having 5 years of experience as a Cloud &amp; DevOps Engineer with exclusive hands-on experience in Azure DevOps and Jenkins, Docker, Kubernetes </a:t>
            </a:r>
            <a:r>
              <a:rPr lang="en-GB" sz="1050" dirty="0">
                <a:solidFill>
                  <a:prstClr val="black"/>
                </a:solidFill>
              </a:rPr>
              <a:t>and solving complex problems with </a:t>
            </a:r>
            <a:r>
              <a:rPr lang="en-GB" sz="1050">
                <a:solidFill>
                  <a:prstClr val="black"/>
                </a:solidFill>
              </a:rPr>
              <a:t>creative solutions and also </a:t>
            </a:r>
            <a:r>
              <a:rPr lang="en-US" sz="1050" dirty="0">
                <a:solidFill>
                  <a:prstClr val="black"/>
                </a:solidFill>
              </a:rPr>
              <a:t>I have a good experience in creating Terraform automation scripts for CI/CD Pipeline building, deployments an Azure DevOps, cloud environments. Skilled in leveraging cloud and DevOps methodologies to deliver scalable, secure, and high-performing cloud solutions. </a:t>
            </a:r>
          </a:p>
          <a:p>
            <a:pPr lvl="0" defTabSz="914378">
              <a:spcBef>
                <a:spcPts val="300"/>
              </a:spcBef>
              <a:spcAft>
                <a:spcPts val="1000"/>
              </a:spcAft>
              <a:defRPr/>
            </a:pPr>
            <a:endParaRPr lang="en" altLang="he-IL" sz="1050" noProof="0" dirty="0">
              <a:solidFill>
                <a:prstClr val="black"/>
              </a:solidFill>
              <a:sym typeface="Google Sans"/>
            </a:endParaRPr>
          </a:p>
          <a:p>
            <a:pPr lvl="0" defTabSz="914378">
              <a:spcBef>
                <a:spcPts val="300"/>
              </a:spcBef>
              <a:spcAft>
                <a:spcPts val="1000"/>
              </a:spcAft>
              <a:defRPr/>
            </a:pPr>
            <a:r>
              <a:rPr kumimoji="0" lang="en-US" altLang="he-IL" sz="105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ect Experience: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Expertise in the creation of CI/CD (Build and Release) pipelines using Azure DevOps </a:t>
            </a:r>
            <a:r>
              <a:rPr lang="en-US" sz="1050" dirty="0">
                <a:solidFill>
                  <a:prstClr val="black"/>
                </a:solidFill>
              </a:rPr>
              <a:t>Experience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Experience using Terraform (</a:t>
            </a:r>
            <a:r>
              <a:rPr lang="en-IN" sz="1050" dirty="0" err="1">
                <a:solidFill>
                  <a:prstClr val="black"/>
                </a:solidFill>
              </a:rPr>
              <a:t>IaC</a:t>
            </a:r>
            <a:r>
              <a:rPr lang="en-IN" sz="1050" dirty="0">
                <a:solidFill>
                  <a:prstClr val="black"/>
                </a:solidFill>
              </a:rPr>
              <a:t>) to create resources in the Azure cloud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Experienced in verifying the deployments in the Azure Kubernetes Services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Visualizing the data through the Marvel dashboards in Kibana. Experience in Virtual Machines, Virtual Networks, Azure App Service, Azure Functions, Service Bus, Azure Kubernetes Service, Azure Container Registry, and APIM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Creating automation accounts to stop the VM based on the CPU utilization to save cost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Good experience in Jenkins to automate the code build and deploy process for Java-based applications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Skilled in building a plan for project success and executing strategies that generate quantifiable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Working experience with continuous delivery/integration/deployment tools such as Ansible, and Jenkins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Deployed Azure IaaS virtual machines(VMs)and Cloud services(PaaS role instances)into secure </a:t>
            </a:r>
            <a:r>
              <a:rPr lang="en-IN" sz="1050" dirty="0" err="1">
                <a:solidFill>
                  <a:prstClr val="black"/>
                </a:solidFill>
              </a:rPr>
              <a:t>VNets</a:t>
            </a:r>
            <a:r>
              <a:rPr lang="en-IN" sz="1050" dirty="0">
                <a:solidFill>
                  <a:prstClr val="black"/>
                </a:solidFill>
              </a:rPr>
              <a:t> and subnets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Identify and resolve project issues and manage project risk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IN" sz="1050" dirty="0">
                <a:solidFill>
                  <a:prstClr val="black"/>
                </a:solidFill>
              </a:rPr>
              <a:t>Responsible for E2E completion of a Project including all five phases Diagnose, Implement, Embed &amp;amp; Grow, Governance &amp;amp; Closure of project.</a:t>
            </a: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endParaRPr lang="en-IN" sz="1050" dirty="0">
              <a:solidFill>
                <a:prstClr val="black"/>
              </a:solidFill>
            </a:endParaRP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endParaRPr lang="en-IN" sz="1050" dirty="0">
              <a:solidFill>
                <a:prstClr val="black"/>
              </a:solidFill>
            </a:endParaRP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endParaRPr lang="en-IN" sz="1050" dirty="0">
              <a:solidFill>
                <a:prstClr val="black"/>
              </a:solidFill>
            </a:endParaRPr>
          </a:p>
          <a:p>
            <a:pPr marL="227013" lvl="1" indent="-225425">
              <a:spcBef>
                <a:spcPct val="40000"/>
              </a:spcBef>
              <a:buClr>
                <a:srgbClr val="000000"/>
              </a:buClr>
              <a:buFont typeface="Wingdings 2" pitchFamily="18" charset="2"/>
              <a:buChar char="¡"/>
              <a:defRPr/>
            </a:pP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40146" y="2362393"/>
            <a:ext cx="1842654" cy="398403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1207" tIns="91207" bIns="91207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r>
              <a:rPr lang="en-US" sz="1000" b="1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janapalli Shashidhar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d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r>
              <a:rPr lang="en-IN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ultan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ation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n-GB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yderabad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act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 </a:t>
            </a:r>
            <a:r>
              <a:rPr lang="en-GB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bojanapalii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@deloitte.co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0000"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eas of Expertise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ure DevOps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cker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bernetes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raform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nkins &amp; Maven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sible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ell scripting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t</a:t>
            </a:r>
          </a:p>
          <a:p>
            <a:pPr marL="171450" marR="0" lvl="0" indent="-171450" algn="l" defTabSz="844083" rtl="0" eaLnBrk="0" fontAlgn="base" latinLnBrk="0" hangingPunct="0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us artifactory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326571" y="736277"/>
            <a:ext cx="1520890" cy="155899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IN" sz="1600" b="1" dirty="0">
                <a:solidFill>
                  <a:schemeClr val="bg1"/>
                </a:solidFill>
              </a:rPr>
              <a:t>Your Pic here</a:t>
            </a:r>
          </a:p>
        </p:txBody>
      </p:sp>
      <p:pic>
        <p:nvPicPr>
          <p:cNvPr id="5" name="Picture 4" descr="A person with a mustache and beard&#10;&#10;Description automatically generated">
            <a:extLst>
              <a:ext uri="{FF2B5EF4-FFF2-40B4-BE49-F238E27FC236}">
                <a16:creationId xmlns:a16="http://schemas.microsoft.com/office/drawing/2014/main" id="{F9E6D30C-220E-ACFF-DA76-E24B7E6605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39" y="615028"/>
            <a:ext cx="1494157" cy="168023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731802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2</TotalTime>
  <Words>337</Words>
  <Application>Microsoft Office PowerPoint</Application>
  <PresentationFormat>Widescreen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Open Sans</vt:lpstr>
      <vt:lpstr>Open Sans Light</vt:lpstr>
      <vt:lpstr>Tw Cen MT</vt:lpstr>
      <vt:lpstr>Verdana</vt:lpstr>
      <vt:lpstr>Wingdings 2</vt:lpstr>
      <vt:lpstr>Deloitte_US_Onscreen</vt:lpstr>
      <vt:lpstr>think-cell Slide</vt:lpstr>
      <vt:lpstr>Bojanapalli Shashidhar Redd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ash Pal</dc:title>
  <dc:creator>akpal@deloitte.com</dc:creator>
  <cp:lastModifiedBy>Bojanapalii, Shashidhar</cp:lastModifiedBy>
  <cp:revision>20</cp:revision>
  <dcterms:created xsi:type="dcterms:W3CDTF">2020-10-06T07:19:38Z</dcterms:created>
  <dcterms:modified xsi:type="dcterms:W3CDTF">2024-09-30T11:3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7-01T17:20:27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4c7bb54e-19fb-40f7-ba55-8f66efea9174</vt:lpwstr>
  </property>
  <property fmtid="{D5CDD505-2E9C-101B-9397-08002B2CF9AE}" pid="8" name="MSIP_Label_ea60d57e-af5b-4752-ac57-3e4f28ca11dc_ContentBits">
    <vt:lpwstr>0</vt:lpwstr>
  </property>
</Properties>
</file>